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4"/>
  </p:notesMasterIdLst>
  <p:handoutMasterIdLst>
    <p:handoutMasterId r:id="rId15"/>
  </p:handoutMasterIdLst>
  <p:sldIdLst>
    <p:sldId id="905" r:id="rId4"/>
    <p:sldId id="922" r:id="rId5"/>
    <p:sldId id="908" r:id="rId6"/>
    <p:sldId id="924" r:id="rId7"/>
    <p:sldId id="925" r:id="rId8"/>
    <p:sldId id="923" r:id="rId9"/>
    <p:sldId id="918" r:id="rId10"/>
    <p:sldId id="919" r:id="rId11"/>
    <p:sldId id="920" r:id="rId12"/>
    <p:sldId id="917" r:id="rId13"/>
  </p:sldIdLst>
  <p:sldSz cx="9144000" cy="5143500" type="screen16x9"/>
  <p:notesSz cx="6797675" cy="9928225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22"/>
            <p14:sldId id="908"/>
            <p14:sldId id="924"/>
            <p14:sldId id="925"/>
            <p14:sldId id="923"/>
            <p14:sldId id="918"/>
            <p14:sldId id="919"/>
            <p14:sldId id="920"/>
            <p14:sldId id="91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2" autoAdjust="0"/>
    <p:restoredTop sz="99543" autoAdjust="0"/>
  </p:normalViewPr>
  <p:slideViewPr>
    <p:cSldViewPr showGuides="1">
      <p:cViewPr>
        <p:scale>
          <a:sx n="100" d="100"/>
          <a:sy n="100" d="100"/>
        </p:scale>
        <p:origin x="-1301" y="-187"/>
      </p:cViewPr>
      <p:guideLst>
        <p:guide orient="horz" pos="293"/>
        <p:guide pos="5602"/>
        <p:guide pos="158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11/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879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182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package" Target="../embeddings/Microsoft_Excel_Worksheet1.xlsx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Сегментация клиентской базы на основе карточных транзакций.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Визуализация</a:t>
            </a:r>
            <a:endParaRPr lang="ru-RU" dirty="0"/>
          </a:p>
        </p:txBody>
      </p:sp>
      <p:pic>
        <p:nvPicPr>
          <p:cNvPr id="60416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3" t="6690" b="4630"/>
          <a:stretch/>
        </p:blipFill>
        <p:spPr bwMode="auto">
          <a:xfrm>
            <a:off x="1979640" y="603728"/>
            <a:ext cx="5256730" cy="3984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513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тоды сегментации на примере гендерной сегрегации</a:t>
            </a:r>
            <a:endParaRPr lang="ru-RU" dirty="0"/>
          </a:p>
        </p:txBody>
      </p:sp>
      <p:pic>
        <p:nvPicPr>
          <p:cNvPr id="603138" name="Picture 2" descr="C:\Users\rb066440\Desktop\Кластеризация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619125"/>
            <a:ext cx="76708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2765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Методы сегментации на примере гендерной сегрегации</a:t>
            </a:r>
            <a:endParaRPr lang="en-US" sz="1800" dirty="0">
              <a:solidFill>
                <a:srgbClr val="FF0000"/>
              </a:solidFill>
            </a:endParaRPr>
          </a:p>
        </p:txBody>
      </p:sp>
      <p:pic>
        <p:nvPicPr>
          <p:cNvPr id="604162" name="Picture 2" descr="C:\Users\rb066440\Desktop\Кластеризация 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619125"/>
            <a:ext cx="76708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Методы сегментации на примере гендерной сегрегации</a:t>
            </a:r>
            <a:endParaRPr lang="en-US" sz="1800" dirty="0">
              <a:solidFill>
                <a:srgbClr val="FF0000"/>
              </a:solidFill>
            </a:endParaRPr>
          </a:p>
        </p:txBody>
      </p:sp>
      <p:pic>
        <p:nvPicPr>
          <p:cNvPr id="605186" name="Picture 2" descr="C:\Users\rb066440\Desktop\Кластеризация 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619125"/>
            <a:ext cx="76708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183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Методы сегментации на примере гендерной сегрегации</a:t>
            </a:r>
            <a:endParaRPr lang="en-US" sz="1800" dirty="0">
              <a:solidFill>
                <a:srgbClr val="FF0000"/>
              </a:solidFill>
            </a:endParaRPr>
          </a:p>
        </p:txBody>
      </p:sp>
      <p:pic>
        <p:nvPicPr>
          <p:cNvPr id="606210" name="Picture 2" descr="C:\Users\rb066440\Desktop\Сегментация4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619125"/>
            <a:ext cx="76708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70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410" y="843510"/>
            <a:ext cx="887973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 smtClean="0"/>
              <a:t>Собраны карточные транзакции за период со </a:t>
            </a:r>
            <a:r>
              <a:rPr lang="ru-RU" sz="1200" dirty="0"/>
              <a:t>II </a:t>
            </a:r>
            <a:r>
              <a:rPr lang="ru-RU" sz="1200" dirty="0" smtClean="0"/>
              <a:t>квартала 2016 года </a:t>
            </a:r>
            <a:r>
              <a:rPr lang="ru-RU" sz="1200" dirty="0"/>
              <a:t>по I квартал 2018 года включительно</a:t>
            </a:r>
            <a:r>
              <a:rPr lang="ru-RU" sz="1200" dirty="0" smtClean="0"/>
              <a:t>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Выбраны ТОП-100 </a:t>
            </a:r>
            <a:r>
              <a:rPr lang="en-US" sz="1200" dirty="0" smtClean="0"/>
              <a:t>MCC </a:t>
            </a:r>
            <a:r>
              <a:rPr lang="ru-RU" sz="1200" dirty="0" smtClean="0"/>
              <a:t>покрывающие </a:t>
            </a:r>
            <a:r>
              <a:rPr lang="ru-RU" sz="1200" dirty="0"/>
              <a:t>98,32</a:t>
            </a:r>
            <a:r>
              <a:rPr lang="en-US" sz="1200" dirty="0" smtClean="0"/>
              <a:t>%</a:t>
            </a:r>
            <a:r>
              <a:rPr lang="ru-RU" sz="1200" dirty="0" smtClean="0"/>
              <a:t> всех</a:t>
            </a:r>
            <a:r>
              <a:rPr lang="en-US" sz="1200" dirty="0"/>
              <a:t> </a:t>
            </a:r>
            <a:r>
              <a:rPr lang="ru-RU" sz="1200" dirty="0" smtClean="0"/>
              <a:t>объемов и 98,73</a:t>
            </a:r>
            <a:r>
              <a:rPr lang="en-US" sz="1200" dirty="0" smtClean="0"/>
              <a:t>% </a:t>
            </a:r>
            <a:r>
              <a:rPr lang="ru-RU" sz="1200" dirty="0" smtClean="0"/>
              <a:t>от суммы </a:t>
            </a:r>
            <a:r>
              <a:rPr lang="ru-RU" sz="1200" dirty="0"/>
              <a:t>карточных </a:t>
            </a:r>
            <a:r>
              <a:rPr lang="ru-RU" sz="1200" dirty="0" smtClean="0"/>
              <a:t>транзакций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Транзакции агрегированы до уровня клиента (</a:t>
            </a:r>
            <a:r>
              <a:rPr lang="en-US" sz="1200" dirty="0" err="1" smtClean="0"/>
              <a:t>office_id</a:t>
            </a:r>
            <a:r>
              <a:rPr lang="ru-RU" sz="1200" dirty="0" smtClean="0"/>
              <a:t> + </a:t>
            </a:r>
            <a:r>
              <a:rPr lang="en-US" sz="1200" dirty="0" err="1" smtClean="0"/>
              <a:t>client_id</a:t>
            </a:r>
            <a:r>
              <a:rPr lang="ru-RU" sz="1200" dirty="0" smtClean="0"/>
              <a:t>). 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Отобраны клиенты имеющие годовой объем транзакций превышающий </a:t>
            </a:r>
            <a:r>
              <a:rPr lang="en-US" sz="1200" dirty="0" smtClean="0"/>
              <a:t>80</a:t>
            </a:r>
            <a:r>
              <a:rPr lang="ru-RU" sz="1200" dirty="0" smtClean="0"/>
              <a:t>000 р. с количеством транзакций более </a:t>
            </a:r>
            <a:r>
              <a:rPr lang="en-US" sz="1200" smtClean="0"/>
              <a:t>48</a:t>
            </a:r>
            <a:r>
              <a:rPr lang="ru-RU" sz="1200" smtClean="0"/>
              <a:t>.</a:t>
            </a: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805927"/>
              </p:ext>
            </p:extLst>
          </p:nvPr>
        </p:nvGraphicFramePr>
        <p:xfrm>
          <a:off x="827480" y="1658290"/>
          <a:ext cx="7705070" cy="2868188"/>
        </p:xfrm>
        <a:graphic>
          <a:graphicData uri="http://schemas.openxmlformats.org/drawingml/2006/table">
            <a:tbl>
              <a:tblPr firstRow="1" firstCol="1">
                <a:tableStyleId>{5940675A-B579-460E-94D1-54222C63F5DA}</a:tableStyleId>
              </a:tblPr>
              <a:tblGrid>
                <a:gridCol w="183515"/>
                <a:gridCol w="576080"/>
                <a:gridCol w="4641155"/>
                <a:gridCol w="1224170"/>
                <a:gridCol w="1080150"/>
              </a:tblGrid>
              <a:tr h="31727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 smtClean="0">
                          <a:effectLst/>
                        </a:rPr>
                        <a:t>MCC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baseline="0" dirty="0" smtClean="0">
                          <a:effectLst/>
                        </a:rPr>
                        <a:t>Деятельности торговой точки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dirty="0" smtClean="0">
                          <a:effectLst/>
                        </a:rPr>
                        <a:t> Доля от</a:t>
                      </a:r>
                      <a:r>
                        <a:rPr lang="ru-RU" sz="1000" b="1" u="none" strike="noStrike" baseline="0" dirty="0" smtClean="0">
                          <a:effectLst/>
                        </a:rPr>
                        <a:t> объемов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т суммы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011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? снятие наличности автоматичес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0,6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,69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41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Бакалейные магазины, супермарке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,2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4%</a:t>
                      </a:r>
                    </a:p>
                  </a:txBody>
                  <a:tcPr marL="7620" marR="7620" marT="7620" marB="0" anchor="b"/>
                </a:tc>
              </a:tr>
              <a:tr h="6011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4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магазины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- </a:t>
                      </a:r>
                      <a:r>
                        <a:rPr lang="ru-RU" sz="1000" u="none" strike="noStrike" dirty="0">
                          <a:effectLst/>
                        </a:rPr>
                        <a:t>нигде более не классифицированны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,3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23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5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9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 магазины и специальные рознич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3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9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0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? торговля и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79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6%</a:t>
                      </a:r>
                    </a:p>
                  </a:txBody>
                  <a:tcPr marL="7620" marR="7620" marT="7620" marB="0" anchor="b"/>
                </a:tc>
              </a:tr>
              <a:tr h="61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Фастфу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0%</a:t>
                      </a:r>
                    </a:p>
                  </a:txBody>
                  <a:tcPr marL="7620" marR="7620" marT="7620" marB="0" anchor="b"/>
                </a:tc>
              </a:tr>
              <a:tr h="45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54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Станции техобслуживания, с дополнительными услугами или бе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4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00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33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ниверсальные магази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8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еста общественного питания, рестора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73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2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с продажей спиртных напитков навыно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2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30%</a:t>
                      </a:r>
                    </a:p>
                  </a:txBody>
                  <a:tcPr marL="7620" marR="7620" marT="7620" marB="0" anchor="b"/>
                </a:tc>
              </a:tr>
              <a:tr h="53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лекоммуникационные услуг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61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16%</a:t>
                      </a:r>
                    </a:p>
                  </a:txBody>
                  <a:tcPr marL="7620" marR="7620" marT="7620" marB="0" anchor="b"/>
                </a:tc>
              </a:tr>
              <a:tr h="37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77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косметик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4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69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мужской и женской одеж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200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овары для дом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0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23%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6129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Обучающая и тестовая выборка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sz="1200" dirty="0" smtClean="0"/>
              </a:p>
              <a:p>
                <a:pPr marL="228600" indent="-228600">
                  <a:buAutoNum type="arabicPeriod"/>
                </a:pPr>
                <a:r>
                  <a:rPr lang="ru-RU" sz="1200" dirty="0" smtClean="0"/>
                  <a:t>Сегментация выполнялась на основе истории транзакций за годовой период (со </a:t>
                </a:r>
                <a:r>
                  <a:rPr lang="ru-RU" sz="1200" dirty="0"/>
                  <a:t>II квартала </a:t>
                </a:r>
                <a:r>
                  <a:rPr lang="ru-RU" sz="1200" dirty="0" smtClean="0"/>
                  <a:t>2017 года </a:t>
                </a:r>
              </a:p>
              <a:p>
                <a:r>
                  <a:rPr lang="ru-RU" sz="1200" dirty="0"/>
                  <a:t> </a:t>
                </a:r>
                <a:r>
                  <a:rPr lang="ru-RU" sz="1200" dirty="0" smtClean="0"/>
                  <a:t>    по </a:t>
                </a:r>
                <a:r>
                  <a:rPr lang="ru-RU" sz="1200" dirty="0"/>
                  <a:t>I квартал 2018 года </a:t>
                </a:r>
                <a:r>
                  <a:rPr lang="ru-RU" sz="1200" dirty="0" smtClean="0"/>
                  <a:t>включительно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2.  Стабильность сегментации проверялась на основе транзакций за годовой период (</a:t>
                </a:r>
                <a:r>
                  <a:rPr lang="ru-RU" sz="1200" dirty="0"/>
                  <a:t>со II квартала </a:t>
                </a:r>
                <a:r>
                  <a:rPr lang="ru-RU" sz="1200" dirty="0" smtClean="0"/>
                  <a:t>2016 года </a:t>
                </a:r>
                <a:endParaRPr lang="ru-RU" sz="1200" dirty="0"/>
              </a:p>
              <a:p>
                <a:r>
                  <a:rPr lang="ru-RU" sz="1200" dirty="0"/>
                  <a:t>     по I квартал </a:t>
                </a:r>
                <a:r>
                  <a:rPr lang="ru-RU" sz="1200" dirty="0" smtClean="0"/>
                  <a:t>2017 </a:t>
                </a:r>
                <a:r>
                  <a:rPr lang="ru-RU" sz="1200" dirty="0"/>
                  <a:t>года включительно</a:t>
                </a:r>
                <a:r>
                  <a:rPr lang="ru-RU" sz="1200" dirty="0" smtClean="0"/>
                  <a:t>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3.</a:t>
                </a:r>
                <a:r>
                  <a:rPr lang="ru-RU" sz="1200" dirty="0"/>
                  <a:t> </a:t>
                </a:r>
                <a:r>
                  <a:rPr lang="ru-RU" sz="1200" dirty="0" smtClean="0"/>
                  <a:t> Признаковое описание клиента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b="0" i="1" smtClean="0">
                            <a:latin typeface="Cambria Math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20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200" dirty="0" smtClean="0"/>
                  <a:t>представляло собой вектор с координатами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𝑒𝑎𝑛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ru-RU" sz="1200" b="0" i="0" smtClean="0">
                          <a:latin typeface="Cambria Math"/>
                        </a:rPr>
                        <m:t>, где</m:t>
                      </m:r>
                    </m:oMath>
                  </m:oMathPara>
                </a14:m>
                <a:endParaRPr lang="ru-RU" sz="1200" dirty="0" smtClean="0"/>
              </a:p>
              <a:p>
                <a:pPr marL="228600" indent="-228600">
                  <a:buAutoNum type="arabicPeriod"/>
                </a:pPr>
                <a:endParaRPr lang="ru-RU" sz="12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𝑃𝑒𝑟𝑐𝑒𝑛𝑡𝑎𝑔𝑒𝑀𝐶𝐶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−доля трат клента </m:t>
                      </m:r>
                      <m:r>
                        <a:rPr lang="en-US" sz="1200" b="0" i="1" smtClean="0">
                          <a:latin typeface="Cambria Math"/>
                        </a:rPr>
                        <m:t>𝑖</m:t>
                      </m:r>
                      <m:r>
                        <a:rPr lang="ru-RU" sz="1200" b="0" i="1" smtClean="0">
                          <a:latin typeface="Cambria Math"/>
                        </a:rPr>
                        <m:t> в данной </m:t>
                      </m:r>
                      <m:sSub>
                        <m:sSubPr>
                          <m:ctrlPr>
                            <a:rPr lang="ru-RU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от общих трат клиента</m:t>
                      </m:r>
                    </m:oMath>
                  </m:oMathPara>
                </a14:m>
                <a:endParaRPr lang="ru-RU" sz="1200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𝑒𝑎𝑛𝑃𝑒𝑟𝑐𝑒𝑛𝑡𝑎𝑔𝑒𝑀𝐶𝐶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i="1">
                          <a:latin typeface="Cambria Math"/>
                        </a:rPr>
                        <m:t>−доля </m:t>
                      </m:r>
                      <m:r>
                        <a:rPr lang="ru-RU" sz="1200" b="0" i="1" smtClean="0">
                          <a:latin typeface="Cambria Math"/>
                        </a:rPr>
                        <m:t>трат </m:t>
                      </m:r>
                      <m:r>
                        <a:rPr lang="ru-RU" sz="1200" i="1">
                          <a:latin typeface="Cambria Math"/>
                        </a:rPr>
                        <m:t>в данной </m:t>
                      </m:r>
                      <m:sSub>
                        <m:sSubPr>
                          <m:ctrlPr>
                            <a:rPr lang="ru-RU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среднестатистического клиента</m:t>
                      </m:r>
                    </m:oMath>
                  </m:oMathPara>
                </a14:m>
                <a:endParaRPr lang="ru-RU" sz="1200" dirty="0" smtClean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blipFill rotWithShape="1">
                <a:blip r:embed="rId3"/>
                <a:stretch>
                  <a:fillRect l="-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Математические методы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и результаты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555470"/>
            <a:ext cx="8700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 smtClean="0"/>
          </a:p>
          <a:p>
            <a:pPr marL="228600" indent="-228600">
              <a:buAutoNum type="arabicPeriod"/>
            </a:pPr>
            <a:r>
              <a:rPr lang="en-US" sz="1200" dirty="0" err="1" smtClean="0"/>
              <a:t>MiniBatchKMeans</a:t>
            </a:r>
            <a:endParaRPr lang="en-US" sz="1200" dirty="0" smtClean="0"/>
          </a:p>
          <a:p>
            <a:pPr marL="228600" indent="-228600">
              <a:buAutoNum type="arabicPeriod"/>
            </a:pPr>
            <a:r>
              <a:rPr lang="ru-RU" sz="1200" dirty="0" err="1" smtClean="0"/>
              <a:t>Агломеративные</a:t>
            </a:r>
            <a:r>
              <a:rPr lang="ru-RU" sz="1200" dirty="0" smtClean="0"/>
              <a:t> методы </a:t>
            </a:r>
          </a:p>
          <a:p>
            <a:pPr marL="228600" indent="-228600">
              <a:buAutoNum type="arabicPeriod"/>
            </a:pPr>
            <a:r>
              <a:rPr lang="en-US" sz="1200" dirty="0" smtClean="0"/>
              <a:t>DBSCAN</a:t>
            </a:r>
            <a:endParaRPr lang="en-US" sz="1200" dirty="0" smtClean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5086534"/>
              </p:ext>
            </p:extLst>
          </p:nvPr>
        </p:nvGraphicFramePr>
        <p:xfrm>
          <a:off x="2267680" y="555470"/>
          <a:ext cx="6432669" cy="40441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16" name="Лист" r:id="rId4" imgW="14487500" imgH="9106020" progId="Excel.Sheet.12">
                  <p:embed/>
                </p:oleObj>
              </mc:Choice>
              <mc:Fallback>
                <p:oleObj name="Лист" r:id="rId4" imgW="14487500" imgH="9106020" progId="Excel.Sheet.12">
                  <p:embed/>
                  <p:pic>
                    <p:nvPicPr>
                      <p:cNvPr id="0" name="Объект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7680" y="555470"/>
                        <a:ext cx="6432669" cy="40441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Стабильность</a:t>
            </a:r>
            <a:endParaRPr lang="ru-RU" dirty="0"/>
          </a:p>
        </p:txBody>
      </p:sp>
      <p:pic>
        <p:nvPicPr>
          <p:cNvPr id="605186" name="Picture 2" descr="C:\Users\rb066440\AppData\Local\Microsoft\Windows\Temporary Internet Files\Content.Outlook\1WVYHZU0\Стабильность clip6%пол (4)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55" r="9570"/>
          <a:stretch/>
        </p:blipFill>
        <p:spPr bwMode="auto">
          <a:xfrm>
            <a:off x="1979641" y="555470"/>
            <a:ext cx="4392610" cy="4195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Gl0ZW0+PHNpc2wgc2lzbFZlcnNpb249IjAiIHBvbGljeT0iYmQ1YjVjMTctZmYwZS00YTQ1LThhZGUtYjFkYjllMWZiODA0IiBvcmlnaW49InVzZXJTZWxlY3RlZCI+PGVsZW1lbnQgdWlkPSJpZF9jbGFzc2lmaWNhdGlvbl9ub25idXNpbmVzcyIgdmFsdWU9IiIgeG1sbnM9Imh0dHA6Ly93d3cuYm9sZG9uamFtZXMuY29tLzIwMDgvMDEvc2llL2ludGVybmFsL2xhYmVsIiAvPjwvc2lzbD48VXNlck5hbWU+Uk9TQkFOS1xyYjA2NjQ0MDwvVXNlck5hbWU+PERhdGVUaW1lPjI4LjA5LjIwMTggNzo1MjoxOTwvRGF0ZVRpbWU+PExhYmVsU3RyaW5nPkMwIHwgJiN4NDFFOyYjeDQzMTsmI3g0NDk7JiN4NDM1OyYjeDQzNDsmI3g0M0U7JiN4NDQxOyYjeDQ0MjsmI3g0NDM7JiN4NDNGOyYjeDQzRDsmI3g0MzA7JiN4NDRGOyAmI3g0Mzg7JiN4NDNEOyYjeDQ0NDsmI3g0M0U7JiN4NDQwOyYjeDQzQzsmI3g0MzA7JiN4NDQ2OyYjeDQzODsmI3g0NEY7PC9MYWJlbFN0cmluZz48L2l0ZW0+PC9sYWJlbEhpc3Rvcnk+</Value>
</WrappedLabelHistory>
</file>

<file path=customXml/item2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E547A48B-4695-45A6-9372-74F85A7DB1DB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4DF87398-657B-4627-93C2-6DD89E808279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910</TotalTime>
  <Words>395</Words>
  <Application>Microsoft Office PowerPoint</Application>
  <PresentationFormat>Экран (16:9)</PresentationFormat>
  <Paragraphs>121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3" baseType="lpstr">
      <vt:lpstr>1_Оформление по умолчанию</vt:lpstr>
      <vt:lpstr>think-cell Slide</vt:lpstr>
      <vt:lpstr>Лист</vt:lpstr>
      <vt:lpstr>Сегментация клиентской базы на основе карточных транзакций. </vt:lpstr>
      <vt:lpstr>Методы сегментации на примере гендерной сегрегации</vt:lpstr>
      <vt:lpstr>Методы сегментации на примере гендерной сегрегации</vt:lpstr>
      <vt:lpstr>Методы сегментации на примере гендерной сегрегации</vt:lpstr>
      <vt:lpstr>Методы сегментации на примере гендерной сегрегации</vt:lpstr>
      <vt:lpstr>Постановка задачи</vt:lpstr>
      <vt:lpstr>Обучающая и тестовая выборка</vt:lpstr>
      <vt:lpstr>Математические методы и результаты</vt:lpstr>
      <vt:lpstr>Стабильность</vt:lpstr>
      <vt:lpstr>Визуализация</vt:lpstr>
    </vt:vector>
  </TitlesOfParts>
  <Company>ROS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0 - Public |j,llsaj12398**C0)knasdals|</dc:description>
  <cp:lastModifiedBy>Мамаев</cp:lastModifiedBy>
  <cp:revision>4055</cp:revision>
  <cp:lastPrinted>2018-04-24T14:30:38Z</cp:lastPrinted>
  <dcterms:created xsi:type="dcterms:W3CDTF">2013-09-23T08:03:06Z</dcterms:created>
  <dcterms:modified xsi:type="dcterms:W3CDTF">2018-11-01T09:3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b7c0c33-02b4-4354-bd7c-e55c618d6a0b</vt:lpwstr>
  </property>
  <property fmtid="{D5CDD505-2E9C-101B-9397-08002B2CF9AE}" pid="3" name="bjSaver">
    <vt:lpwstr>0q1XEv+o2qC9McKq3895H6WyVTAMQnZ8</vt:lpwstr>
  </property>
  <property fmtid="{D5CDD505-2E9C-101B-9397-08002B2CF9AE}" pid="4" name="bjLabelHistoryID">
    <vt:lpwstr>{E547A48B-4695-45A6-9372-74F85A7DB1DB}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6" name="bjDocumentLabelXML-0">
    <vt:lpwstr>ames.com/2008/01/sie/internal/label"&gt;&lt;element uid="id_classification_nonbusiness" value="" /&gt;&lt;/sisl&gt;</vt:lpwstr>
  </property>
  <property fmtid="{D5CDD505-2E9C-101B-9397-08002B2CF9AE}" pid="7" name="bjDocumentSecurityLabel">
    <vt:lpwstr>C0 | Общедоступная информация</vt:lpwstr>
  </property>
</Properties>
</file>